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3"/>
  </p:notesMasterIdLst>
  <p:sldIdLst>
    <p:sldId id="259" r:id="rId2"/>
  </p:sldIdLst>
  <p:sldSz cx="10691813" cy="7559675"/>
  <p:notesSz cx="6858000" cy="9144000"/>
  <p:custDataLst>
    <p:tags r:id="rId4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8" autoAdjust="0"/>
    <p:restoredTop sz="94721" autoAdjust="0"/>
  </p:normalViewPr>
  <p:slideViewPr>
    <p:cSldViewPr snapToGrid="0" showGuides="1">
      <p:cViewPr varScale="1">
        <p:scale>
          <a:sx n="70" d="100"/>
          <a:sy n="70" d="100"/>
        </p:scale>
        <p:origin x="-1426" y="-67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2757B4-A195-4A66-B176-951FC8CA041B}" type="datetimeFigureOut">
              <a:rPr lang="nl-NL" smtClean="0"/>
              <a:t>21-12-2017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72F95-2832-4AB7-8005-0AEB2001AAB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8959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7EE08F-9B36-4906-ABBA-44EC7A93C654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0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pag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887021"/>
              </p:ext>
            </p:ext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/>
          <p:cNvSpPr/>
          <p:nvPr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72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200" kern="900" spc="0" baseline="0" dirty="0" err="1" smtClean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63" b="9195"/>
          <a:stretch/>
        </p:blipFill>
        <p:spPr>
          <a:xfrm>
            <a:off x="0" y="2099388"/>
            <a:ext cx="10691813" cy="315374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2251382" y="2747602"/>
            <a:ext cx="6575379" cy="671805"/>
          </a:xfrm>
        </p:spPr>
        <p:txBody>
          <a:bodyPr tIns="0">
            <a:noAutofit/>
          </a:bodyPr>
          <a:lstStyle>
            <a:lvl1pPr algn="l">
              <a:lnSpc>
                <a:spcPts val="3200"/>
              </a:lnSpc>
              <a:defRPr sz="3600" spc="20" baseline="0">
                <a:solidFill>
                  <a:schemeClr val="bg1"/>
                </a:solidFill>
                <a:latin typeface="+mj-lt"/>
                <a:sym typeface="Arial" panose="020B0604020202020204" pitchFamily="34" charset="0"/>
              </a:defRPr>
            </a:lvl1pPr>
          </a:lstStyle>
          <a:p>
            <a:r>
              <a:rPr lang="nl-NL" dirty="0" smtClean="0"/>
              <a:t>titel van dit stuk</a:t>
            </a:r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45" hasCustomPrompt="1"/>
          </p:nvPr>
        </p:nvSpPr>
        <p:spPr>
          <a:xfrm>
            <a:off x="2251382" y="3580050"/>
            <a:ext cx="5932079" cy="409675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L="0" marR="0" indent="0" algn="l" defTabSz="1007956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spc="2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9391" indent="0">
              <a:buFont typeface="Arial" panose="020B0604020202020204" pitchFamily="34" charset="0"/>
              <a:buNone/>
              <a:defRPr sz="2500">
                <a:solidFill>
                  <a:schemeClr val="bg1"/>
                </a:solidFill>
                <a:latin typeface="+mj-lt"/>
              </a:defRPr>
            </a:lvl2pPr>
            <a:lvl3pPr marL="357191" indent="0">
              <a:buFont typeface="Arial" panose="020B0604020202020204" pitchFamily="34" charset="0"/>
              <a:buNone/>
              <a:defRPr sz="2500">
                <a:solidFill>
                  <a:schemeClr val="bg1"/>
                </a:solidFill>
                <a:latin typeface="+mj-lt"/>
              </a:defRPr>
            </a:lvl3pPr>
            <a:lvl4pPr marL="536582" indent="0">
              <a:buFont typeface="Arial" panose="020B0604020202020204" pitchFamily="34" charset="0"/>
              <a:buNone/>
              <a:defRPr sz="2500">
                <a:solidFill>
                  <a:schemeClr val="bg1"/>
                </a:solidFill>
                <a:latin typeface="+mj-lt"/>
              </a:defRPr>
            </a:lvl4pPr>
            <a:lvl5pPr marL="719147" indent="0">
              <a:buFont typeface="Arial" panose="020B0604020202020204" pitchFamily="34" charset="0"/>
              <a:buNone/>
              <a:defRPr sz="25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dirty="0" smtClean="0"/>
              <a:t>ondertitel van dit stuk</a:t>
            </a:r>
          </a:p>
        </p:txBody>
      </p:sp>
      <p:sp>
        <p:nvSpPr>
          <p:cNvPr id="11" name="Tijdelijke aanduiding voor tekst 12"/>
          <p:cNvSpPr>
            <a:spLocks noGrp="1"/>
          </p:cNvSpPr>
          <p:nvPr>
            <p:ph type="body" sz="quarter" idx="11" hasCustomPrompt="1"/>
          </p:nvPr>
        </p:nvSpPr>
        <p:spPr>
          <a:xfrm>
            <a:off x="2251382" y="4281002"/>
            <a:ext cx="5009287" cy="402725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marL="0" indent="0" algn="l">
              <a:lnSpc>
                <a:spcPts val="19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spc="2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79391" indent="0">
              <a:lnSpc>
                <a:spcPts val="1601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357191" indent="0">
              <a:lnSpc>
                <a:spcPts val="1601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536582" indent="0">
              <a:lnSpc>
                <a:spcPts val="1601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719147" indent="0">
              <a:lnSpc>
                <a:spcPts val="1601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dirty="0" smtClean="0"/>
              <a:t>datum, plaats, versienummer (</a:t>
            </a:r>
            <a:r>
              <a:rPr lang="nl-NL" dirty="0" err="1" smtClean="0"/>
              <a:t>vx.x</a:t>
            </a:r>
            <a:r>
              <a:rPr lang="nl-NL" dirty="0" smtClean="0"/>
              <a:t>)</a:t>
            </a:r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565167"/>
            <a:ext cx="10691813" cy="1411319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" y="4827519"/>
            <a:ext cx="10691810" cy="1411319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3419" y="3494050"/>
            <a:ext cx="1815199" cy="1299079"/>
          </a:xfrm>
          <a:prstGeom prst="rect">
            <a:avLst/>
          </a:prstGeom>
        </p:spPr>
      </p:pic>
      <p:grpSp>
        <p:nvGrpSpPr>
          <p:cNvPr id="8" name="Groep 7"/>
          <p:cNvGrpSpPr/>
          <p:nvPr/>
        </p:nvGrpSpPr>
        <p:grpSpPr>
          <a:xfrm>
            <a:off x="1718187" y="2134401"/>
            <a:ext cx="316966" cy="2426007"/>
            <a:chOff x="1718187" y="2134401"/>
            <a:chExt cx="316966" cy="2426007"/>
          </a:xfrm>
        </p:grpSpPr>
        <p:pic>
          <p:nvPicPr>
            <p:cNvPr id="2" name="Afbeelding 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187" y="2134401"/>
              <a:ext cx="316966" cy="2426007"/>
            </a:xfrm>
            <a:prstGeom prst="rect">
              <a:avLst/>
            </a:prstGeom>
          </p:spPr>
        </p:pic>
        <p:pic>
          <p:nvPicPr>
            <p:cNvPr id="21" name="Afbeelding 20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187" y="2134401"/>
              <a:ext cx="316966" cy="2426007"/>
            </a:xfrm>
            <a:prstGeom prst="rect">
              <a:avLst/>
            </a:prstGeom>
          </p:spPr>
        </p:pic>
      </p:grpSp>
      <p:grpSp>
        <p:nvGrpSpPr>
          <p:cNvPr id="15" name="Groep 14"/>
          <p:cNvGrpSpPr/>
          <p:nvPr userDrawn="1"/>
        </p:nvGrpSpPr>
        <p:grpSpPr>
          <a:xfrm>
            <a:off x="1718187" y="2134401"/>
            <a:ext cx="316966" cy="2426007"/>
            <a:chOff x="1718187" y="2134401"/>
            <a:chExt cx="316966" cy="2426007"/>
          </a:xfrm>
        </p:grpSpPr>
        <p:pic>
          <p:nvPicPr>
            <p:cNvPr id="16" name="Afbeelding 15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187" y="2134401"/>
              <a:ext cx="316966" cy="2426007"/>
            </a:xfrm>
            <a:prstGeom prst="rect">
              <a:avLst/>
            </a:prstGeom>
          </p:spPr>
        </p:pic>
        <p:pic>
          <p:nvPicPr>
            <p:cNvPr id="17" name="Afbeelding 16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187" y="2134401"/>
              <a:ext cx="316966" cy="242600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1105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810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249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59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pagina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665163" y="1331913"/>
            <a:ext cx="9361487" cy="5003800"/>
          </a:xfrm>
        </p:spPr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783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pagina 16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/>
          </p:nvPr>
        </p:nvSpPr>
        <p:spPr>
          <a:xfrm>
            <a:off x="665163" y="1331913"/>
            <a:ext cx="9361487" cy="5003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 baseline="0"/>
            </a:lvl7pPr>
            <a:lvl8pPr>
              <a:defRPr sz="1600"/>
            </a:lvl8pPr>
            <a:lvl9pPr marL="1609725" indent="-171450">
              <a:buFont typeface="Arial" panose="020B0604020202020204" pitchFamily="34" charset="0"/>
              <a:buChar char="•"/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</a:p>
          <a:p>
            <a:pPr lvl="5"/>
            <a:r>
              <a:rPr lang="nl-NL" dirty="0" smtClean="0"/>
              <a:t>Zesde niveau</a:t>
            </a:r>
          </a:p>
          <a:p>
            <a:pPr lvl="6"/>
            <a:r>
              <a:rPr lang="nl-NL" dirty="0" smtClean="0"/>
              <a:t>Zevende niveau</a:t>
            </a:r>
          </a:p>
          <a:p>
            <a:pPr lvl="7"/>
            <a:r>
              <a:rPr lang="nl-NL" dirty="0" smtClean="0"/>
              <a:t>Achtste niveau</a:t>
            </a:r>
          </a:p>
          <a:p>
            <a:pPr lvl="8"/>
            <a:r>
              <a:rPr lang="nl-NL" dirty="0" smtClean="0"/>
              <a:t>Negende niveau</a:t>
            </a:r>
          </a:p>
        </p:txBody>
      </p:sp>
    </p:spTree>
    <p:extLst>
      <p:ext uri="{BB962C8B-B14F-4D97-AF65-F5344CB8AC3E}">
        <p14:creationId xmlns:p14="http://schemas.microsoft.com/office/powerpoint/2010/main" val="3090499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758934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Afbeelding 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2147"/>
            <a:ext cx="10691812" cy="89796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5166" y="3175"/>
            <a:ext cx="9361487" cy="896938"/>
          </a:xfrm>
          <a:prstGeom prst="rect">
            <a:avLst/>
          </a:prstGeom>
        </p:spPr>
        <p:txBody>
          <a:bodyPr vert="horz" lIns="0" tIns="90000" rIns="0" bIns="0" rtlCol="0" anchor="ctr">
            <a:noAutofit/>
          </a:bodyPr>
          <a:lstStyle/>
          <a:p>
            <a:r>
              <a:rPr lang="nl-NL" dirty="0" smtClean="0"/>
              <a:t>Titelstijl van model bewerken</a:t>
            </a:r>
            <a:endParaRPr lang="en-US" dirty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7" y="6747891"/>
            <a:ext cx="10672224" cy="584112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76052"/>
            <a:ext cx="514460" cy="810000"/>
          </a:xfrm>
          <a:prstGeom prst="rect">
            <a:avLst/>
          </a:prstGeom>
        </p:spPr>
      </p:pic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61988" y="1331913"/>
            <a:ext cx="9364665" cy="4795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</a:p>
          <a:p>
            <a:pPr marL="1076325" marR="0" lvl="5" indent="-174625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 smtClean="0"/>
              <a:t>Zesde niveau</a:t>
            </a:r>
          </a:p>
          <a:p>
            <a:pPr lvl="6"/>
            <a:r>
              <a:rPr lang="nl-NL" dirty="0" smtClean="0"/>
              <a:t>Zevende niveau</a:t>
            </a:r>
          </a:p>
          <a:p>
            <a:pPr lvl="7"/>
            <a:r>
              <a:rPr lang="nl-NL" dirty="0" smtClean="0"/>
              <a:t>Achtste niveau</a:t>
            </a:r>
          </a:p>
          <a:p>
            <a:pPr lvl="8"/>
            <a:r>
              <a:rPr lang="nl-NL" dirty="0" smtClean="0"/>
              <a:t>Negende niveau	</a:t>
            </a:r>
            <a:endParaRPr lang="en-US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>
          <a:xfrm>
            <a:off x="9090212" y="7138006"/>
            <a:ext cx="812800" cy="1939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1400" smtClean="0">
                <a:solidFill>
                  <a:srgbClr val="40665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CD8EFE4E-9A59-4E18-82F4-6C9A446A9A01}" type="datetimeFigureOut">
              <a:rPr lang="en-US" smtClean="0"/>
              <a:pPr/>
              <a:t>12/21/2017</a:t>
            </a:fld>
            <a:endParaRPr lang="en-US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3"/>
          </p:nvPr>
        </p:nvSpPr>
        <p:spPr>
          <a:xfrm>
            <a:off x="661988" y="6335714"/>
            <a:ext cx="9364665" cy="18215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ijdelijke aanduiding voor dianummer 10"/>
          <p:cNvSpPr txBox="1">
            <a:spLocks/>
          </p:cNvSpPr>
          <p:nvPr userDrawn="1"/>
        </p:nvSpPr>
        <p:spPr>
          <a:xfrm>
            <a:off x="10026934" y="7138007"/>
            <a:ext cx="414024" cy="19399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nl-NL"/>
            </a:defPPr>
            <a:lvl1pPr marL="0" algn="l" defTabSz="914400" rtl="0" eaLnBrk="1" latinLnBrk="0" hangingPunct="1">
              <a:defRPr lang="en-US" sz="1400" kern="1200" smtClean="0">
                <a:solidFill>
                  <a:srgbClr val="40665A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078131F-F265-4619-8472-A0104F09205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412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5" r:id="rId2"/>
    <p:sldLayoutId id="2147483692" r:id="rId3"/>
    <p:sldLayoutId id="2147483693" r:id="rId4"/>
    <p:sldLayoutId id="214748369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07956" rtl="0" eaLnBrk="1" latinLnBrk="0" hangingPunct="1">
        <a:lnSpc>
          <a:spcPts val="2700"/>
        </a:lnSpc>
        <a:spcBef>
          <a:spcPct val="0"/>
        </a:spcBef>
        <a:buNone/>
        <a:defRPr sz="2800" kern="1200" spc="20" baseline="0">
          <a:solidFill>
            <a:schemeClr val="bg1"/>
          </a:solidFill>
          <a:latin typeface="+mj-lt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179391" indent="-179391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93" indent="-177802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82" indent="-179391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48" indent="-182565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37" indent="-179391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1700" marR="0" indent="0" algn="l" defTabSz="1800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0950" indent="-174625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187325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12900" indent="-174625" algn="l" defTabSz="1800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8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56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913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91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69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47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825" algn="l" defTabSz="1007956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17">
          <p15:clr>
            <a:srgbClr val="F26B43"/>
          </p15:clr>
        </p15:guide>
        <p15:guide id="2" pos="6316">
          <p15:clr>
            <a:srgbClr val="F26B43"/>
          </p15:clr>
        </p15:guide>
        <p15:guide id="3" orient="horz" pos="3991">
          <p15:clr>
            <a:srgbClr val="F26B43"/>
          </p15:clr>
        </p15:guide>
        <p15:guide id="4" orient="horz" pos="8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994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verzicht</a:t>
            </a:r>
            <a:r>
              <a:rPr lang="en-US" dirty="0" smtClean="0"/>
              <a:t> </a:t>
            </a:r>
            <a:r>
              <a:rPr lang="en-US" dirty="0" err="1" smtClean="0"/>
              <a:t>drg</a:t>
            </a:r>
            <a:r>
              <a:rPr lang="en-US" dirty="0" smtClean="0"/>
              <a:t> update </a:t>
            </a:r>
            <a:r>
              <a:rPr lang="en-US" dirty="0" err="1" smtClean="0"/>
              <a:t>afzetvoorspelling</a:t>
            </a:r>
            <a:endParaRPr lang="en-US" dirty="0"/>
          </a:p>
        </p:txBody>
      </p:sp>
      <p:sp>
        <p:nvSpPr>
          <p:cNvPr id="3" name="Afgeschuind enkele hoek rechthoek 2"/>
          <p:cNvSpPr/>
          <p:nvPr/>
        </p:nvSpPr>
        <p:spPr>
          <a:xfrm>
            <a:off x="552445" y="1866905"/>
            <a:ext cx="1061358" cy="566058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lialen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e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kstvak 3"/>
          <p:cNvSpPr txBox="1"/>
          <p:nvPr/>
        </p:nvSpPr>
        <p:spPr>
          <a:xfrm>
            <a:off x="174167" y="1088831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WH.dbo.WTFE_receipt_item</a:t>
            </a:r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_</a:t>
            </a:r>
          </a:p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irk_analysetabel_werk_historie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174167" y="2830556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PRE_ROI_tool_aantal_filialen_actie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Afgeschuind enkele hoek rechthoek 6"/>
          <p:cNvSpPr/>
          <p:nvPr/>
        </p:nvSpPr>
        <p:spPr>
          <a:xfrm>
            <a:off x="2702373" y="1714131"/>
            <a:ext cx="1061358" cy="425287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urrentie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daten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2324095" y="1088831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i="1" dirty="0">
                <a:latin typeface="Calibri" panose="020F0502020204030204" pitchFamily="34" charset="0"/>
                <a:cs typeface="Calibri" panose="020F0502020204030204" pitchFamily="34" charset="0"/>
              </a:rPr>
              <a:t>Excel input DRG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2324095" y="2830556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PRE_ROI_tool_conc_jn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180000"/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_</a:t>
            </a:r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ieuw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Afgeschuind enkele hoek rechthoek 9"/>
          <p:cNvSpPr/>
          <p:nvPr/>
        </p:nvSpPr>
        <p:spPr>
          <a:xfrm>
            <a:off x="4852301" y="1866905"/>
            <a:ext cx="1061358" cy="566058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vanging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tikelnummers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4474023" y="1088831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Excel input DRG</a:t>
            </a:r>
          </a:p>
        </p:txBody>
      </p:sp>
      <p:sp>
        <p:nvSpPr>
          <p:cNvPr id="12" name="Tekstvak 11"/>
          <p:cNvSpPr txBox="1"/>
          <p:nvPr/>
        </p:nvSpPr>
        <p:spPr>
          <a:xfrm>
            <a:off x="4474023" y="2830556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PRE_ROI_tool_aantal</a:t>
            </a:r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_</a:t>
            </a:r>
          </a:p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ilialen_actie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Afgeschuind enkele hoek rechthoek 13"/>
          <p:cNvSpPr/>
          <p:nvPr/>
        </p:nvSpPr>
        <p:spPr>
          <a:xfrm>
            <a:off x="7002229" y="1866905"/>
            <a:ext cx="1061358" cy="566058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iere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koopprijs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6623951" y="1088831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taging.dbo.WTFV_sales</a:t>
            </a:r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_</a:t>
            </a:r>
          </a:p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ricebook_history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6623951" y="2830556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PRE_ROI_tool_reguliere_verkoopprijs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Afgeschuind enkele hoek rechthoek 16"/>
          <p:cNvSpPr/>
          <p:nvPr/>
        </p:nvSpPr>
        <p:spPr>
          <a:xfrm>
            <a:off x="9152157" y="1866905"/>
            <a:ext cx="1061358" cy="566058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oot</a:t>
            </a:r>
          </a:p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pakkingen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kstvak 17"/>
          <p:cNvSpPr txBox="1"/>
          <p:nvPr/>
        </p:nvSpPr>
        <p:spPr>
          <a:xfrm>
            <a:off x="8773879" y="1088831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WH.dbo.WTDH_article_actual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kstvak 18"/>
          <p:cNvSpPr txBox="1"/>
          <p:nvPr/>
        </p:nvSpPr>
        <p:spPr>
          <a:xfrm>
            <a:off x="8773879" y="2830556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Grootverpakkingen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Afgeschuind enkele hoek rechthoek 19"/>
          <p:cNvSpPr/>
          <p:nvPr/>
        </p:nvSpPr>
        <p:spPr>
          <a:xfrm>
            <a:off x="4638798" y="3939980"/>
            <a:ext cx="1880260" cy="1002806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motiedata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ROI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ol</a:t>
            </a:r>
          </a:p>
        </p:txBody>
      </p:sp>
      <p:sp>
        <p:nvSpPr>
          <p:cNvPr id="23" name="Tekstvak 22"/>
          <p:cNvSpPr txBox="1"/>
          <p:nvPr/>
        </p:nvSpPr>
        <p:spPr>
          <a:xfrm>
            <a:off x="7399575" y="4162731"/>
            <a:ext cx="2283261" cy="5573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Promoties_pre_ROI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kstvak 23"/>
          <p:cNvSpPr txBox="1"/>
          <p:nvPr/>
        </p:nvSpPr>
        <p:spPr>
          <a:xfrm>
            <a:off x="174167" y="3929740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DWH.dbo.ROI_3_draaitabel</a:t>
            </a:r>
          </a:p>
          <a:p>
            <a:pPr algn="ctr" defTabSz="180000"/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_totaal</a:t>
            </a:r>
          </a:p>
        </p:txBody>
      </p:sp>
      <p:cxnSp>
        <p:nvCxnSpPr>
          <p:cNvPr id="25" name="Gebogen verbindingslijn 24"/>
          <p:cNvCxnSpPr>
            <a:stCxn id="6" idx="2"/>
            <a:endCxn id="20" idx="3"/>
          </p:cNvCxnSpPr>
          <p:nvPr/>
        </p:nvCxnSpPr>
        <p:spPr>
          <a:xfrm rot="16200000" flipH="1">
            <a:off x="2966554" y="1327606"/>
            <a:ext cx="728944" cy="4495804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bogen verbindingslijn 25"/>
          <p:cNvCxnSpPr>
            <a:stCxn id="9" idx="2"/>
            <a:endCxn id="20" idx="3"/>
          </p:cNvCxnSpPr>
          <p:nvPr/>
        </p:nvCxnSpPr>
        <p:spPr>
          <a:xfrm rot="16200000" flipH="1">
            <a:off x="4041518" y="2402570"/>
            <a:ext cx="728944" cy="2345876"/>
          </a:xfrm>
          <a:prstGeom prst="bentConnector3">
            <a:avLst>
              <a:gd name="adj1" fmla="val 50000"/>
            </a:avLst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bogen verbindingslijn 28"/>
          <p:cNvCxnSpPr>
            <a:stCxn id="12" idx="2"/>
            <a:endCxn id="20" idx="3"/>
          </p:cNvCxnSpPr>
          <p:nvPr/>
        </p:nvCxnSpPr>
        <p:spPr>
          <a:xfrm rot="16200000" flipH="1">
            <a:off x="5116482" y="3477534"/>
            <a:ext cx="728944" cy="195948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bogen verbindingslijn 31"/>
          <p:cNvCxnSpPr>
            <a:stCxn id="16" idx="2"/>
            <a:endCxn id="20" idx="3"/>
          </p:cNvCxnSpPr>
          <p:nvPr/>
        </p:nvCxnSpPr>
        <p:spPr>
          <a:xfrm rot="5400000">
            <a:off x="6191446" y="2598518"/>
            <a:ext cx="728944" cy="1953980"/>
          </a:xfrm>
          <a:prstGeom prst="bentConnector3">
            <a:avLst>
              <a:gd name="adj1" fmla="val 50000"/>
            </a:avLst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bogen verbindingslijn 34"/>
          <p:cNvCxnSpPr>
            <a:stCxn id="19" idx="2"/>
            <a:endCxn id="20" idx="3"/>
          </p:cNvCxnSpPr>
          <p:nvPr/>
        </p:nvCxnSpPr>
        <p:spPr>
          <a:xfrm rot="5400000">
            <a:off x="7266410" y="1523554"/>
            <a:ext cx="728944" cy="4103908"/>
          </a:xfrm>
          <a:prstGeom prst="bentConnector3">
            <a:avLst>
              <a:gd name="adj1" fmla="val 50000"/>
            </a:avLst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kstvak 37"/>
          <p:cNvSpPr txBox="1"/>
          <p:nvPr/>
        </p:nvSpPr>
        <p:spPr>
          <a:xfrm>
            <a:off x="174167" y="4724535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ediadata</a:t>
            </a:r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1000" i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180000"/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(Excel input DRG)</a:t>
            </a:r>
          </a:p>
        </p:txBody>
      </p:sp>
      <p:sp>
        <p:nvSpPr>
          <p:cNvPr id="39" name="Tekstvak 38"/>
          <p:cNvSpPr txBox="1"/>
          <p:nvPr/>
        </p:nvSpPr>
        <p:spPr>
          <a:xfrm>
            <a:off x="174167" y="5519330"/>
            <a:ext cx="1817914" cy="380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aximaal</a:t>
            </a:r>
            <a:r>
              <a:rPr lang="en-GB" sz="1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fzet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" name="Gebogen verbindingslijn 39"/>
          <p:cNvCxnSpPr>
            <a:stCxn id="24" idx="3"/>
            <a:endCxn id="20" idx="2"/>
          </p:cNvCxnSpPr>
          <p:nvPr/>
        </p:nvCxnSpPr>
        <p:spPr>
          <a:xfrm>
            <a:off x="1992081" y="4119980"/>
            <a:ext cx="2646717" cy="321403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bogen verbindingslijn 42"/>
          <p:cNvCxnSpPr>
            <a:stCxn id="38" idx="3"/>
            <a:endCxn id="20" idx="2"/>
          </p:cNvCxnSpPr>
          <p:nvPr/>
        </p:nvCxnSpPr>
        <p:spPr>
          <a:xfrm flipV="1">
            <a:off x="1992081" y="4441383"/>
            <a:ext cx="2646717" cy="473392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bogen verbindingslijn 45"/>
          <p:cNvCxnSpPr>
            <a:stCxn id="39" idx="3"/>
            <a:endCxn id="20" idx="2"/>
          </p:cNvCxnSpPr>
          <p:nvPr/>
        </p:nvCxnSpPr>
        <p:spPr>
          <a:xfrm flipV="1">
            <a:off x="1992081" y="4441383"/>
            <a:ext cx="2646717" cy="1268187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echte verbindingslijn met pijl 51"/>
          <p:cNvCxnSpPr>
            <a:stCxn id="4" idx="2"/>
            <a:endCxn id="6" idx="0"/>
          </p:cNvCxnSpPr>
          <p:nvPr/>
        </p:nvCxnSpPr>
        <p:spPr>
          <a:xfrm>
            <a:off x="1083124" y="1469311"/>
            <a:ext cx="0" cy="136124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echte verbindingslijn met pijl 57"/>
          <p:cNvCxnSpPr/>
          <p:nvPr/>
        </p:nvCxnSpPr>
        <p:spPr>
          <a:xfrm>
            <a:off x="3216719" y="2253347"/>
            <a:ext cx="0" cy="217978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met pijl 58"/>
          <p:cNvCxnSpPr>
            <a:endCxn id="77" idx="3"/>
          </p:cNvCxnSpPr>
          <p:nvPr/>
        </p:nvCxnSpPr>
        <p:spPr>
          <a:xfrm>
            <a:off x="5573471" y="4942786"/>
            <a:ext cx="5457" cy="1146694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Rechte verbindingslijn met pijl 61"/>
          <p:cNvCxnSpPr>
            <a:stCxn id="20" idx="0"/>
            <a:endCxn id="23" idx="1"/>
          </p:cNvCxnSpPr>
          <p:nvPr/>
        </p:nvCxnSpPr>
        <p:spPr>
          <a:xfrm>
            <a:off x="6519058" y="4441383"/>
            <a:ext cx="880517" cy="0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kstvak 66"/>
          <p:cNvSpPr txBox="1"/>
          <p:nvPr/>
        </p:nvSpPr>
        <p:spPr>
          <a:xfrm>
            <a:off x="7399575" y="4781554"/>
            <a:ext cx="2283261" cy="270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180000"/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put </a:t>
            </a:r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reROI</a:t>
            </a:r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tool / </a:t>
            </a:r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pplicatie</a:t>
            </a:r>
            <a:endParaRPr lang="en-GB" sz="1000" i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Afgeschuind enkele hoek rechthoek 76"/>
          <p:cNvSpPr/>
          <p:nvPr/>
        </p:nvSpPr>
        <p:spPr>
          <a:xfrm>
            <a:off x="4638798" y="6089480"/>
            <a:ext cx="1880260" cy="622664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euwe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ek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itscoren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ie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Afgeschuind enkele hoek rechthoek 77"/>
          <p:cNvSpPr/>
          <p:nvPr/>
        </p:nvSpPr>
        <p:spPr>
          <a:xfrm>
            <a:off x="2702373" y="2258682"/>
            <a:ext cx="1061358" cy="425287"/>
          </a:xfrm>
          <a:prstGeom prst="snip1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urrentie</a:t>
            </a:r>
            <a:r>
              <a:rPr lang="en-GB" sz="1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</a:t>
            </a:r>
            <a:r>
              <a:rPr lang="en-GB" sz="1000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pareren</a:t>
            </a:r>
            <a:endParaRPr lang="en-GB" sz="1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2" name="Rechte verbindingslijn met pijl 81"/>
          <p:cNvCxnSpPr/>
          <p:nvPr/>
        </p:nvCxnSpPr>
        <p:spPr>
          <a:xfrm>
            <a:off x="3238490" y="1469311"/>
            <a:ext cx="0" cy="136124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Rechte verbindingslijn met pijl 82"/>
          <p:cNvCxnSpPr/>
          <p:nvPr/>
        </p:nvCxnSpPr>
        <p:spPr>
          <a:xfrm>
            <a:off x="5393856" y="1469311"/>
            <a:ext cx="0" cy="136124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Rechte verbindingslijn met pijl 83"/>
          <p:cNvCxnSpPr/>
          <p:nvPr/>
        </p:nvCxnSpPr>
        <p:spPr>
          <a:xfrm>
            <a:off x="7549222" y="1469311"/>
            <a:ext cx="0" cy="136124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Rechte verbindingslijn met pijl 84"/>
          <p:cNvCxnSpPr/>
          <p:nvPr/>
        </p:nvCxnSpPr>
        <p:spPr>
          <a:xfrm>
            <a:off x="9704588" y="1469311"/>
            <a:ext cx="0" cy="136124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kstvak 21"/>
          <p:cNvSpPr txBox="1"/>
          <p:nvPr/>
        </p:nvSpPr>
        <p:spPr>
          <a:xfrm>
            <a:off x="4479090" y="5262924"/>
            <a:ext cx="2199676" cy="5064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 defTabSz="180000"/>
            <a:r>
              <a:rPr lang="en-GB" sz="1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G.dbo.DW_tempscenario</a:t>
            </a:r>
            <a:endParaRPr lang="en-GB" sz="1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Tekstvak 86"/>
          <p:cNvSpPr txBox="1"/>
          <p:nvPr/>
        </p:nvSpPr>
        <p:spPr>
          <a:xfrm>
            <a:off x="6689648" y="5325577"/>
            <a:ext cx="2283261" cy="270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180000"/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put </a:t>
            </a:r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odelschatting</a:t>
            </a:r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in R</a:t>
            </a:r>
          </a:p>
        </p:txBody>
      </p:sp>
      <p:sp>
        <p:nvSpPr>
          <p:cNvPr id="88" name="Tekstvak 87"/>
          <p:cNvSpPr txBox="1"/>
          <p:nvPr/>
        </p:nvSpPr>
        <p:spPr>
          <a:xfrm>
            <a:off x="174168" y="5913421"/>
            <a:ext cx="1817914" cy="270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180000"/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gelezen</a:t>
            </a:r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.m.v</a:t>
            </a:r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. R-script</a:t>
            </a:r>
          </a:p>
        </p:txBody>
      </p:sp>
      <p:sp>
        <p:nvSpPr>
          <p:cNvPr id="90" name="Tekstvak 89"/>
          <p:cNvSpPr txBox="1"/>
          <p:nvPr/>
        </p:nvSpPr>
        <p:spPr>
          <a:xfrm>
            <a:off x="174168" y="5115654"/>
            <a:ext cx="1817914" cy="270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180000"/>
            <a:r>
              <a:rPr lang="en-GB" sz="1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Dirk only</a:t>
            </a:r>
          </a:p>
        </p:txBody>
      </p:sp>
    </p:spTree>
    <p:extLst>
      <p:ext uri="{BB962C8B-B14F-4D97-AF65-F5344CB8AC3E}">
        <p14:creationId xmlns:p14="http://schemas.microsoft.com/office/powerpoint/2010/main" val="138148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company">
  <a:themeElements>
    <a:clrScheme name="MIcompany">
      <a:dk1>
        <a:srgbClr val="292929"/>
      </a:dk1>
      <a:lt1>
        <a:srgbClr val="FFFFFF"/>
      </a:lt1>
      <a:dk2>
        <a:srgbClr val="292929"/>
      </a:dk2>
      <a:lt2>
        <a:srgbClr val="FFFFFF"/>
      </a:lt2>
      <a:accent1>
        <a:srgbClr val="4BAFAF"/>
      </a:accent1>
      <a:accent2>
        <a:srgbClr val="7DCDCD"/>
      </a:accent2>
      <a:accent3>
        <a:srgbClr val="C8E6E6"/>
      </a:accent3>
      <a:accent4>
        <a:srgbClr val="328787"/>
      </a:accent4>
      <a:accent5>
        <a:srgbClr val="326464"/>
      </a:accent5>
      <a:accent6>
        <a:srgbClr val="292929"/>
      </a:accent6>
      <a:hlink>
        <a:srgbClr val="FFFFFF"/>
      </a:hlink>
      <a:folHlink>
        <a:srgbClr val="FFFFFF"/>
      </a:folHlink>
    </a:clrScheme>
    <a:fontScheme name="MIcompany">
      <a:majorFont>
        <a:latin typeface="MIchalk"/>
        <a:ea typeface=""/>
        <a:cs typeface=""/>
      </a:majorFont>
      <a:minorFont>
        <a:latin typeface="Arial"/>
        <a:ea typeface=""/>
        <a:cs typeface=""/>
      </a:minorFont>
    </a:fontScheme>
    <a:fmtScheme name="Office-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err="1" smtClean="0">
            <a:solidFill>
              <a:schemeClr val="bg1"/>
            </a:solidFill>
            <a:latin typeface="Arial" panose="020B0604020202020204" pitchFamily="34" charset="0"/>
          </a:defRPr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noAutofit/>
      </a:bodyPr>
      <a:lstStyle>
        <a:defPPr marL="180000" indent="-180000" defTabSz="180000">
          <a:buFont typeface="Arial" panose="020B0604020202020204" pitchFamily="34" charset="0"/>
          <a:buChar char="•"/>
          <a:defRPr sz="12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170403-MIc-Slide-Library" id="{ADBEF8F4-83D3-480E-A401-E85EF64B3A48}" vid="{440D8F8C-0758-47B2-A540-182582FC59C8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Icompany</Template>
  <TotalTime>442</TotalTime>
  <Words>80</Words>
  <Application>Microsoft Office PowerPoint</Application>
  <PresentationFormat>Aangepast</PresentationFormat>
  <Paragraphs>36</Paragraphs>
  <Slides>1</Slides>
  <Notes>1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</vt:i4>
      </vt:variant>
    </vt:vector>
  </HeadingPairs>
  <TitlesOfParts>
    <vt:vector size="3" baseType="lpstr">
      <vt:lpstr>MIcompany</vt:lpstr>
      <vt:lpstr>think-cell Slide</vt:lpstr>
      <vt:lpstr>Overzicht drg update afzetvoorspelling</vt:lpstr>
    </vt:vector>
  </TitlesOfParts>
  <Company>Mi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Reni van der Gragt</dc:creator>
  <cp:lastModifiedBy>Dorthe van Waarden</cp:lastModifiedBy>
  <cp:revision>50</cp:revision>
  <dcterms:created xsi:type="dcterms:W3CDTF">2017-04-19T07:47:06Z</dcterms:created>
  <dcterms:modified xsi:type="dcterms:W3CDTF">2017-12-21T11:10:43Z</dcterms:modified>
</cp:coreProperties>
</file>